
<file path=[Content_Types].xml><?xml version="1.0" encoding="utf-8"?>
<Types xmlns="http://schemas.openxmlformats.org/package/2006/content-types">
  <Default Extension="bin" ContentType="application/vnd.openxmlformats-officedocument.oleObject"/>
  <Default Extension="tmp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1"/>
  </p:sldMasterIdLst>
  <p:sldIdLst>
    <p:sldId id="257" r:id="rId2"/>
  </p:sldIdLst>
  <p:sldSz cx="6858000" cy="12192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45" d="100"/>
          <a:sy n="45" d="100"/>
        </p:scale>
        <p:origin x="220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tmp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tmp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-6350" y="-15054"/>
            <a:ext cx="6877353" cy="12222107"/>
            <a:chOff x="-8466" y="-8468"/>
            <a:chExt cx="9169804" cy="6874935"/>
          </a:xfrm>
        </p:grpSpPr>
        <p:cxnSp>
          <p:nvCxnSpPr>
            <p:cNvPr id="17" name="Straight Connector 16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Freeform 18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0" name="Freeform 19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1" name="Freeform 20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Freeform 21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Freeform 22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Freeform 23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Freeform 24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Freeform 27"/>
            <p:cNvSpPr/>
            <p:nvPr/>
          </p:nvSpPr>
          <p:spPr>
            <a:xfrm>
              <a:off x="-8466" y="-8468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7947" y="4274727"/>
            <a:ext cx="4370039" cy="2926759"/>
          </a:xfrm>
        </p:spPr>
        <p:txBody>
          <a:bodyPr anchor="b">
            <a:noAutofit/>
          </a:bodyPr>
          <a:lstStyle>
            <a:lvl1pPr algn="r">
              <a:defRPr sz="4050">
                <a:solidFill>
                  <a:schemeClr val="accent1"/>
                </a:solidFill>
              </a:defRPr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7947" y="7201483"/>
            <a:ext cx="4370039" cy="1950043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a-DK" smtClean="0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05943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 og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83734"/>
            <a:ext cx="4760786" cy="6050844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7947378"/>
            <a:ext cx="4760786" cy="2792821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112832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itat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64" y="1083733"/>
            <a:ext cx="4554137" cy="5373511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825806" y="6457245"/>
            <a:ext cx="4064853" cy="677333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7947378"/>
            <a:ext cx="4760786" cy="2792821"/>
          </a:xfrm>
        </p:spPr>
        <p:txBody>
          <a:bodyPr anchor="ctr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  <p:sp>
        <p:nvSpPr>
          <p:cNvPr id="24" name="TextBox 23"/>
          <p:cNvSpPr txBox="1"/>
          <p:nvPr/>
        </p:nvSpPr>
        <p:spPr>
          <a:xfrm>
            <a:off x="362034" y="1405116"/>
            <a:ext cx="342989" cy="103960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60775" y="5131655"/>
            <a:ext cx="342989" cy="103960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81601636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Navnek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3434645"/>
            <a:ext cx="4760786" cy="4614151"/>
          </a:xfrm>
        </p:spPr>
        <p:txBody>
          <a:bodyPr anchor="b">
            <a:normAutofit/>
          </a:bodyPr>
          <a:lstStyle>
            <a:lvl1pPr algn="l">
              <a:defRPr sz="3300" b="0" cap="none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048796"/>
            <a:ext cx="4760786" cy="2691403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7836164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ort med citat og nav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1164" y="1083733"/>
            <a:ext cx="4554137" cy="5373511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198" y="7134578"/>
            <a:ext cx="4760787" cy="914219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048796"/>
            <a:ext cx="4760786" cy="2691403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  <p:sp>
        <p:nvSpPr>
          <p:cNvPr id="24" name="TextBox 23"/>
          <p:cNvSpPr txBox="1"/>
          <p:nvPr/>
        </p:nvSpPr>
        <p:spPr>
          <a:xfrm>
            <a:off x="362034" y="1405116"/>
            <a:ext cx="342989" cy="103960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060775" y="5131655"/>
            <a:ext cx="342989" cy="1039602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/>
          <a:p>
            <a:pPr lvl="0"/>
            <a:r>
              <a:rPr lang="en-US" sz="6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48119800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andt eller fals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886" y="1083733"/>
            <a:ext cx="4756099" cy="5373511"/>
          </a:xfrm>
        </p:spPr>
        <p:txBody>
          <a:bodyPr anchor="ctr">
            <a:normAutofit/>
          </a:bodyPr>
          <a:lstStyle>
            <a:lvl1pPr algn="l">
              <a:defRPr sz="3300" b="0" cap="none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57198" y="7134578"/>
            <a:ext cx="4760787" cy="914219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1800">
                <a:solidFill>
                  <a:schemeClr val="accent1"/>
                </a:solidFill>
              </a:defRPr>
            </a:lvl1pPr>
            <a:lvl2pPr marL="342900" indent="0">
              <a:buFontTx/>
              <a:buNone/>
              <a:defRPr/>
            </a:lvl2pPr>
            <a:lvl3pPr marL="685800" indent="0">
              <a:buFontTx/>
              <a:buNone/>
              <a:defRPr/>
            </a:lvl3pPr>
            <a:lvl4pPr marL="1028700" indent="0">
              <a:buFontTx/>
              <a:buNone/>
              <a:defRPr/>
            </a:lvl4pPr>
            <a:lvl5pPr marL="1371600" indent="0">
              <a:buFontTx/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048796"/>
            <a:ext cx="4760786" cy="2691403"/>
          </a:xfrm>
        </p:spPr>
        <p:txBody>
          <a:bodyPr anchor="t">
            <a:normAutofit/>
          </a:bodyPr>
          <a:lstStyle>
            <a:lvl1pPr marL="0" indent="0" algn="l">
              <a:buNone/>
              <a:defRPr sz="135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395153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99920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82984" y="1083734"/>
            <a:ext cx="734109" cy="9335913"/>
          </a:xfrm>
        </p:spPr>
        <p:txBody>
          <a:bodyPr vert="eaVert" anchor="ctr"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199" y="1083734"/>
            <a:ext cx="3896270" cy="9335913"/>
          </a:xfrm>
        </p:spPr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49244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_5_Tekst i en spalte_Print sel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BBE0325-5FBA-4282-8948-CE7D04EC59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044" y="2563"/>
          <a:ext cx="2044" cy="25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4" imgW="378" imgH="379" progId="TCLayout.ActiveDocument.1">
                  <p:embed/>
                </p:oleObj>
              </mc:Choice>
              <mc:Fallback>
                <p:oleObj name="think-cell Slide" r:id="rId4" imgW="378" imgH="37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BBE0325-5FBA-4282-8948-CE7D04EC59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44" y="2563"/>
                        <a:ext cx="2044" cy="25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2B636780-7893-4120-B8DB-345D0E9CB3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a-DK"/>
              <a:t>Dokumenttitel</a:t>
            </a:r>
            <a:endParaRPr lang="da-DK" dirty="0"/>
          </a:p>
        </p:txBody>
      </p:sp>
      <p:sp>
        <p:nvSpPr>
          <p:cNvPr id="5" name="Pladsholder til slidenummer 4" descr="Sidetal">
            <a:extLst>
              <a:ext uri="{FF2B5EF4-FFF2-40B4-BE49-F238E27FC236}">
                <a16:creationId xmlns:a16="http://schemas.microsoft.com/office/drawing/2014/main" id="{EFF6684E-DF93-4437-9E46-ED5E46940D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‹nr.›</a:t>
            </a:fld>
            <a:endParaRPr lang="da-DK" dirty="0"/>
          </a:p>
        </p:txBody>
      </p:sp>
      <p:sp>
        <p:nvSpPr>
          <p:cNvPr id="16" name="Pladsholder til tekst 15" descr="Overskrift">
            <a:extLst>
              <a:ext uri="{FF2B5EF4-FFF2-40B4-BE49-F238E27FC236}">
                <a16:creationId xmlns:a16="http://schemas.microsoft.com/office/drawing/2014/main" id="{8151B983-53BD-4AD1-BD29-C03E00BAB98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86487" y="734801"/>
            <a:ext cx="5683570" cy="698953"/>
          </a:xfrm>
        </p:spPr>
        <p:txBody>
          <a:bodyPr>
            <a:normAutofit/>
          </a:bodyPr>
          <a:lstStyle>
            <a:lvl1pPr marL="0" indent="0">
              <a:lnSpc>
                <a:spcPts val="2256"/>
              </a:lnSpc>
              <a:spcBef>
                <a:spcPts val="0"/>
              </a:spcBef>
              <a:buNone/>
              <a:defRPr sz="1938"/>
            </a:lvl1pPr>
            <a:lvl2pPr marL="429604" indent="0">
              <a:buNone/>
              <a:defRPr/>
            </a:lvl2pPr>
            <a:lvl3pPr marL="859207" indent="0">
              <a:buNone/>
              <a:defRPr/>
            </a:lvl3pPr>
            <a:lvl4pPr marL="1288813" indent="0">
              <a:buNone/>
              <a:defRPr/>
            </a:lvl4pPr>
            <a:lvl5pPr marL="1718416" indent="0">
              <a:buNone/>
              <a:defRPr/>
            </a:lvl5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17" name="Pladsholder til tekst 13" descr="Tekst">
            <a:extLst>
              <a:ext uri="{FF2B5EF4-FFF2-40B4-BE49-F238E27FC236}">
                <a16:creationId xmlns:a16="http://schemas.microsoft.com/office/drawing/2014/main" id="{72C965DF-287C-4D08-A75D-12D9A452B92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86487" y="1452948"/>
            <a:ext cx="5689677" cy="9702740"/>
          </a:xfrm>
        </p:spPr>
        <p:txBody>
          <a:bodyPr numCol="1" spcCol="180000">
            <a:normAutofit/>
          </a:bodyPr>
          <a:lstStyle>
            <a:lvl1pPr marL="0" indent="0">
              <a:lnSpc>
                <a:spcPts val="2256"/>
              </a:lnSpc>
              <a:spcBef>
                <a:spcPts val="0"/>
              </a:spcBef>
              <a:buNone/>
              <a:defRPr sz="1772">
                <a:latin typeface="Aleo" panose="00000500000000000000" pitchFamily="2" charset="0"/>
              </a:defRPr>
            </a:lvl1pPr>
          </a:lstStyle>
          <a:p>
            <a:pPr lvl="0"/>
            <a:r>
              <a:rPr lang="da-DK" dirty="0"/>
              <a:t>Tekst i en spalte</a:t>
            </a: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33FF3A2F-F500-437A-9C22-C3D3824F82FA}"/>
              </a:ext>
            </a:extLst>
          </p:cNvPr>
          <p:cNvSpPr txBox="1"/>
          <p:nvPr userDrawn="1"/>
        </p:nvSpPr>
        <p:spPr>
          <a:xfrm>
            <a:off x="7087874" y="2"/>
            <a:ext cx="2464466" cy="14747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2256"/>
              </a:lnSpc>
            </a:pPr>
            <a:r>
              <a:rPr lang="da-DK" sz="1289" b="1" dirty="0">
                <a:latin typeface="Aleo" panose="00000500000000000000" pitchFamily="2" charset="0"/>
              </a:rPr>
              <a:t>Vælg opstilling:</a:t>
            </a:r>
          </a:p>
          <a:p>
            <a:pPr>
              <a:lnSpc>
                <a:spcPts val="2256"/>
              </a:lnSpc>
            </a:pPr>
            <a:r>
              <a:rPr lang="da-DK" sz="1289" dirty="0">
                <a:latin typeface="Aleo" panose="00000500000000000000" pitchFamily="2" charset="0"/>
              </a:rPr>
              <a:t>Under fanen Hjem kan du klikke på</a:t>
            </a:r>
          </a:p>
          <a:p>
            <a:pPr>
              <a:lnSpc>
                <a:spcPts val="2256"/>
              </a:lnSpc>
            </a:pPr>
            <a:r>
              <a:rPr lang="da-DK" sz="1289" dirty="0">
                <a:latin typeface="Aleo" panose="00000500000000000000" pitchFamily="2" charset="0"/>
              </a:rPr>
              <a:t>På listen kan du skifte mellem forskellige opstillinger. </a:t>
            </a:r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FFF6467F-E3A3-416D-82CB-A76EA6D0097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1082" y="335574"/>
            <a:ext cx="602515" cy="225484"/>
          </a:xfrm>
          <a:prstGeom prst="rect">
            <a:avLst/>
          </a:prstGeom>
        </p:spPr>
      </p:pic>
      <p:pic>
        <p:nvPicPr>
          <p:cNvPr id="15" name="Billede 14">
            <a:extLst>
              <a:ext uri="{FF2B5EF4-FFF2-40B4-BE49-F238E27FC236}">
                <a16:creationId xmlns:a16="http://schemas.microsoft.com/office/drawing/2014/main" id="{B0E5B85D-7EA8-4433-81B8-A7C5320FF97E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7874" y="1256897"/>
            <a:ext cx="2388718" cy="1001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129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6969487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4801544"/>
            <a:ext cx="4760786" cy="3247255"/>
          </a:xfrm>
        </p:spPr>
        <p:txBody>
          <a:bodyPr anchor="b"/>
          <a:lstStyle>
            <a:lvl1pPr algn="l">
              <a:defRPr sz="3000" b="0" cap="none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8048796"/>
            <a:ext cx="4760786" cy="1529600"/>
          </a:xfrm>
        </p:spPr>
        <p:txBody>
          <a:bodyPr anchor="t"/>
          <a:lstStyle>
            <a:lvl1pPr marL="0" indent="0" algn="l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3429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539629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83733"/>
            <a:ext cx="4760786" cy="2348089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3841047"/>
            <a:ext cx="2316082" cy="6899150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01903" y="3841050"/>
            <a:ext cx="2316083" cy="6899152"/>
          </a:xfrm>
        </p:spPr>
        <p:txBody>
          <a:bodyPr>
            <a:normAutofit/>
          </a:bodyPr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900"/>
            </a:lvl4pPr>
            <a:lvl5pPr>
              <a:defRPr sz="900"/>
            </a:lvl5pPr>
            <a:lvl6pPr>
              <a:defRPr sz="900"/>
            </a:lvl6pPr>
            <a:lvl7pPr>
              <a:defRPr sz="900"/>
            </a:lvl7pPr>
            <a:lvl8pPr>
              <a:defRPr sz="900"/>
            </a:lvl8pPr>
            <a:lvl9pPr>
              <a:defRPr sz="900"/>
            </a:lvl9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929886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083733"/>
            <a:ext cx="4760785" cy="2348089"/>
          </a:xfrm>
        </p:spPr>
        <p:txBody>
          <a:bodyPr/>
          <a:lstStyle>
            <a:lvl1pPr>
              <a:defRPr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3841747"/>
            <a:ext cx="2318004" cy="1024466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199" y="4866216"/>
            <a:ext cx="2318004" cy="5873986"/>
          </a:xfrm>
        </p:spPr>
        <p:txBody>
          <a:bodyPr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2899980" y="3841747"/>
            <a:ext cx="2318004" cy="1024466"/>
          </a:xfrm>
        </p:spPr>
        <p:txBody>
          <a:bodyPr anchor="b">
            <a:noAutofit/>
          </a:bodyPr>
          <a:lstStyle>
            <a:lvl1pPr marL="0" indent="0">
              <a:buNone/>
              <a:defRPr sz="1800" b="0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2899980" y="4866216"/>
            <a:ext cx="2318004" cy="5873986"/>
          </a:xfrm>
        </p:spPr>
        <p:txBody>
          <a:bodyPr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8727808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1083733"/>
            <a:ext cx="4760786" cy="2348089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971256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0469790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2664185"/>
            <a:ext cx="2092637" cy="2272828"/>
          </a:xfrm>
        </p:spPr>
        <p:txBody>
          <a:bodyPr anchor="b">
            <a:normAutofit/>
          </a:bodyPr>
          <a:lstStyle>
            <a:lvl1pPr>
              <a:defRPr sz="150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78456" y="915423"/>
            <a:ext cx="2539528" cy="9824777"/>
          </a:xfrm>
        </p:spPr>
        <p:txBody>
          <a:bodyPr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99" y="4937012"/>
            <a:ext cx="2092637" cy="4594576"/>
          </a:xfrm>
        </p:spPr>
        <p:txBody>
          <a:bodyPr>
            <a:normAutofit/>
          </a:bodyPr>
          <a:lstStyle>
            <a:lvl1pPr marL="0" indent="0">
              <a:buNone/>
              <a:defRPr sz="1050"/>
            </a:lvl1pPr>
            <a:lvl2pPr marL="257175" indent="0">
              <a:buNone/>
              <a:defRPr sz="788"/>
            </a:lvl2pPr>
            <a:lvl3pPr marL="514350" indent="0">
              <a:buNone/>
              <a:defRPr sz="675"/>
            </a:lvl3pPr>
            <a:lvl4pPr marL="771525" indent="0">
              <a:buNone/>
              <a:defRPr sz="563"/>
            </a:lvl4pPr>
            <a:lvl5pPr marL="1028700" indent="0">
              <a:buNone/>
              <a:defRPr sz="563"/>
            </a:lvl5pPr>
            <a:lvl6pPr marL="1285875" indent="0">
              <a:buNone/>
              <a:defRPr sz="563"/>
            </a:lvl6pPr>
            <a:lvl7pPr marL="1543050" indent="0">
              <a:buNone/>
              <a:defRPr sz="563"/>
            </a:lvl7pPr>
            <a:lvl8pPr marL="1800225" indent="0">
              <a:buNone/>
              <a:defRPr sz="563"/>
            </a:lvl8pPr>
            <a:lvl9pPr marL="2057400" indent="0">
              <a:buNone/>
              <a:defRPr sz="563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64035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199" y="8534400"/>
            <a:ext cx="4760786" cy="1007534"/>
          </a:xfrm>
        </p:spPr>
        <p:txBody>
          <a:bodyPr anchor="b">
            <a:normAutofit/>
          </a:bodyPr>
          <a:lstStyle>
            <a:lvl1pPr algn="l">
              <a:defRPr sz="1800" b="0"/>
            </a:lvl1pPr>
          </a:lstStyle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57199" y="1083733"/>
            <a:ext cx="4760786" cy="6836832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  <a:lvl2pPr marL="342900" indent="0">
              <a:buNone/>
              <a:defRPr sz="1200"/>
            </a:lvl2pPr>
            <a:lvl3pPr marL="685800" indent="0">
              <a:buNone/>
              <a:defRPr sz="12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r>
              <a:rPr lang="da-DK" smtClean="0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199" y="9541934"/>
            <a:ext cx="4760786" cy="1198265"/>
          </a:xfrm>
        </p:spPr>
        <p:txBody>
          <a:bodyPr>
            <a:normAutofit/>
          </a:bodyPr>
          <a:lstStyle>
            <a:lvl1pPr marL="0" indent="0">
              <a:buNone/>
              <a:defRPr sz="900"/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514053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-6350" y="-15054"/>
            <a:ext cx="6877354" cy="12222107"/>
            <a:chOff x="-8467" y="-8468"/>
            <a:chExt cx="9169805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00"/>
              <a:ext cx="457200" cy="285326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830" y="4175605"/>
              <a:ext cx="4022475" cy="2682396"/>
            </a:xfrm>
            <a:prstGeom prst="line">
              <a:avLst/>
            </a:prstGeom>
            <a:ln w="9525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707" y="0"/>
              <a:ext cx="1219200" cy="6858000"/>
            </a:xfrm>
            <a:prstGeom prst="line">
              <a:avLst/>
            </a:prstGeom>
            <a:ln w="95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896" y="1"/>
              <a:ext cx="2269442" cy="686646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158" y="-8467"/>
              <a:ext cx="1948147" cy="6866467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7896" y="3920066"/>
              <a:ext cx="2513565" cy="2937933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2">
                <a:alpha val="7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429" y="-8467"/>
              <a:ext cx="2142876" cy="6866467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776" y="-8467"/>
              <a:ext cx="857530" cy="6866467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1">
                <a:lumMod val="60000"/>
                <a:lumOff val="4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77231" y="-8468"/>
              <a:ext cx="1066770" cy="6866467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6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0297" y="4893733"/>
              <a:ext cx="1094086" cy="1964267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083733"/>
            <a:ext cx="4760785" cy="234808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a-DK" smtClean="0"/>
              <a:t>Klik for at redigere i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3841050"/>
            <a:ext cx="4760786" cy="689915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053944" y="10740202"/>
            <a:ext cx="513099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D82062E-BCF7-4A58-893E-C6ADEA436857}" type="datetimeFigureOut">
              <a:rPr lang="da-DK" smtClean="0"/>
              <a:t>10-04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10740202"/>
            <a:ext cx="3467230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675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33507" y="10740202"/>
            <a:ext cx="384479" cy="649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675">
                <a:solidFill>
                  <a:schemeClr val="accent1"/>
                </a:solidFill>
              </a:defRPr>
            </a:lvl1pPr>
          </a:lstStyle>
          <a:p>
            <a:fld id="{F430FB4A-7CFB-4435-8BE7-DD3AB295EF1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27409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  <p:sldLayoutId id="2147483731" r:id="rId12"/>
    <p:sldLayoutId id="2147483732" r:id="rId13"/>
    <p:sldLayoutId id="2147483733" r:id="rId14"/>
    <p:sldLayoutId id="2147483734" r:id="rId15"/>
    <p:sldLayoutId id="2147483735" r:id="rId16"/>
    <p:sldLayoutId id="2147483736" r:id="rId17"/>
  </p:sldLayoutIdLst>
  <p:txStyles>
    <p:titleStyle>
      <a:lvl1pPr algn="l" defTabSz="342900" rtl="0" eaLnBrk="1" latinLnBrk="0" hangingPunct="1">
        <a:spcBef>
          <a:spcPct val="0"/>
        </a:spcBef>
        <a:buNone/>
        <a:defRPr sz="27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57175" indent="-257175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3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57213" indent="-214313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572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05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2001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5430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8859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2288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5717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914650" indent="-171450" algn="l" defTabSz="342900" rtl="0" eaLnBrk="1" latinLnBrk="0" hangingPunct="1">
        <a:spcBef>
          <a:spcPts val="75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9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3429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4F67F80-C6C5-4152-AE4F-047697E5A1AA}" type="slidenum">
              <a:rPr lang="da-DK" smtClean="0"/>
              <a:pPr/>
              <a:t>1</a:t>
            </a:fld>
            <a:endParaRPr lang="da-DK" dirty="0"/>
          </a:p>
        </p:txBody>
      </p:sp>
      <p:sp>
        <p:nvSpPr>
          <p:cNvPr id="3" name="Pladsholder til tekst 2"/>
          <p:cNvSpPr>
            <a:spLocks noGrp="1"/>
          </p:cNvSpPr>
          <p:nvPr>
            <p:ph type="body" sz="quarter" idx="15"/>
          </p:nvPr>
        </p:nvSpPr>
        <p:spPr>
          <a:xfrm>
            <a:off x="586487" y="734801"/>
            <a:ext cx="5683570" cy="1151149"/>
          </a:xfrm>
        </p:spPr>
        <p:txBody>
          <a:bodyPr>
            <a:normAutofit/>
          </a:bodyPr>
          <a:lstStyle/>
          <a:p>
            <a:r>
              <a:rPr lang="da-DK" sz="3200" dirty="0" smtClean="0"/>
              <a:t>Hvad er godt at have med </a:t>
            </a:r>
            <a:r>
              <a:rPr lang="da-DK" sz="3200" dirty="0" smtClean="0"/>
              <a:t>når</a:t>
            </a:r>
          </a:p>
          <a:p>
            <a:r>
              <a:rPr lang="da-DK" sz="3200" dirty="0" smtClean="0"/>
              <a:t> </a:t>
            </a:r>
            <a:r>
              <a:rPr lang="da-DK" sz="3200" dirty="0" smtClean="0"/>
              <a:t>man flytter ind</a:t>
            </a:r>
            <a:endParaRPr lang="da-DK" sz="3200" dirty="0"/>
          </a:p>
        </p:txBody>
      </p:sp>
      <p:sp>
        <p:nvSpPr>
          <p:cNvPr id="4" name="Pladsholder til tekst 3"/>
          <p:cNvSpPr>
            <a:spLocks noGrp="1"/>
          </p:cNvSpPr>
          <p:nvPr>
            <p:ph type="body" sz="quarter" idx="16"/>
          </p:nvPr>
        </p:nvSpPr>
        <p:spPr>
          <a:xfrm>
            <a:off x="586487" y="1885950"/>
            <a:ext cx="5689677" cy="9269738"/>
          </a:xfrm>
        </p:spPr>
        <p:txBody>
          <a:bodyPr/>
          <a:lstStyle/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dirty="0"/>
              <a:t>Mørklægningsgardiner, møbler og personlige billeder til væg, lamper, pærer. </a:t>
            </a:r>
            <a:endParaRPr lang="da-DK" sz="1938" dirty="0" smtClean="0"/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dirty="0" smtClean="0"/>
              <a:t>Husk </a:t>
            </a:r>
            <a:r>
              <a:rPr lang="da-DK" sz="1938" dirty="0"/>
              <a:t>at værelset både </a:t>
            </a:r>
            <a:r>
              <a:rPr lang="da-DK" sz="1938" dirty="0" smtClean="0"/>
              <a:t>skal fungere som en </a:t>
            </a:r>
            <a:r>
              <a:rPr lang="da-DK" sz="1938" dirty="0"/>
              <a:t>arbejdsplads og en bolig</a:t>
            </a:r>
            <a:r>
              <a:rPr lang="da-DK" sz="1938" dirty="0" smtClean="0"/>
              <a:t>.</a:t>
            </a:r>
          </a:p>
          <a:p>
            <a:pPr>
              <a:lnSpc>
                <a:spcPct val="200000"/>
              </a:lnSpc>
            </a:pPr>
            <a:endParaRPr lang="da-DK" sz="1938" dirty="0"/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dirty="0"/>
              <a:t>Tøj til minimum 14 dage. </a:t>
            </a:r>
            <a:endParaRPr lang="da-DK" sz="1938" dirty="0" smtClean="0"/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dirty="0" smtClean="0"/>
              <a:t>Fodtøj </a:t>
            </a:r>
            <a:r>
              <a:rPr lang="da-DK" sz="1938" dirty="0"/>
              <a:t>gerne med snøre eller sko der sidder fast på fødderne( OBS ikke glatte sutsko).</a:t>
            </a:r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dirty="0"/>
              <a:t>Dyne, puder, sengetøj og lagner og hånklæder</a:t>
            </a:r>
            <a:r>
              <a:rPr lang="da-DK" sz="1938" dirty="0" smtClean="0"/>
              <a:t>.</a:t>
            </a:r>
          </a:p>
          <a:p>
            <a:pPr>
              <a:lnSpc>
                <a:spcPct val="200000"/>
              </a:lnSpc>
            </a:pPr>
            <a:r>
              <a:rPr lang="da-DK" sz="1938" dirty="0" smtClean="0"/>
              <a:t> </a:t>
            </a:r>
            <a:endParaRPr lang="da-DK" sz="1938" dirty="0"/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i="1" dirty="0" smtClean="0"/>
              <a:t>Toiletartikler:</a:t>
            </a:r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r>
              <a:rPr lang="da-DK" sz="1938" dirty="0" smtClean="0"/>
              <a:t> hårtørrer, </a:t>
            </a:r>
            <a:r>
              <a:rPr lang="da-DK" sz="1938" dirty="0"/>
              <a:t>barbermaskine, neglesaks, neglerenser, kam, børste, deodorant,  termometer til måling af temperatur</a:t>
            </a:r>
            <a:r>
              <a:rPr lang="da-DK" dirty="0" smtClean="0"/>
              <a:t>.</a:t>
            </a:r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a-DK" dirty="0"/>
          </a:p>
          <a:p>
            <a:pPr marL="276521" indent="-276521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da-DK" dirty="0" smtClean="0"/>
          </a:p>
          <a:p>
            <a:pPr>
              <a:lnSpc>
                <a:spcPct val="200000"/>
              </a:lnSpc>
            </a:pPr>
            <a:endParaRPr lang="da-DK" dirty="0" smtClean="0"/>
          </a:p>
          <a:p>
            <a:pPr marL="276521" indent="-276521">
              <a:buFont typeface="Arial" panose="020B0604020202020204" pitchFamily="34" charset="0"/>
              <a:buChar char="•"/>
            </a:pPr>
            <a:endParaRPr lang="da-DK" dirty="0" smtClean="0"/>
          </a:p>
          <a:p>
            <a:pPr marL="276521" indent="-276521">
              <a:buFont typeface="Arial" panose="020B0604020202020204" pitchFamily="34" charset="0"/>
              <a:buChar char="•"/>
            </a:pPr>
            <a:endParaRPr lang="da-DK" dirty="0" smtClean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40038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acet">
  <a:themeElements>
    <a:clrScheme name="Facet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90C226"/>
      </a:accent1>
      <a:accent2>
        <a:srgbClr val="54A021"/>
      </a:accent2>
      <a:accent3>
        <a:srgbClr val="E6B91E"/>
      </a:accent3>
      <a:accent4>
        <a:srgbClr val="E76618"/>
      </a:accent4>
      <a:accent5>
        <a:srgbClr val="C42F1A"/>
      </a:accent5>
      <a:accent6>
        <a:srgbClr val="918655"/>
      </a:accent6>
      <a:hlink>
        <a:srgbClr val="99CA3C"/>
      </a:hlink>
      <a:folHlink>
        <a:srgbClr val="B9D181"/>
      </a:folHlink>
    </a:clrScheme>
    <a:fontScheme name="Facet">
      <a:majorFont>
        <a:latin typeface="Trebuchet MS" panose="020B0603020202020204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 panose="020B0603020202020204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Face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CFBC31BA-B70F-4F30-BCAA-4F3011E16C4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11</TotalTime>
  <Words>95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7" baseType="lpstr">
      <vt:lpstr>Aleo</vt:lpstr>
      <vt:lpstr>Arial</vt:lpstr>
      <vt:lpstr>Trebuchet MS</vt:lpstr>
      <vt:lpstr>Wingdings 3</vt:lpstr>
      <vt:lpstr>Facet</vt:lpstr>
      <vt:lpstr>think-cell Slide</vt:lpstr>
      <vt:lpstr>PowerPoint-præsentation</vt:lpstr>
    </vt:vector>
  </TitlesOfParts>
  <Company>Roskilde Kommun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Mitra Shahidi</dc:creator>
  <cp:lastModifiedBy>Mitra Shahidi</cp:lastModifiedBy>
  <cp:revision>2</cp:revision>
  <dcterms:created xsi:type="dcterms:W3CDTF">2025-04-10T10:58:38Z</dcterms:created>
  <dcterms:modified xsi:type="dcterms:W3CDTF">2025-04-10T11:09:50Z</dcterms:modified>
</cp:coreProperties>
</file>